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04"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3C03AB-9D3E-4CB4-B385-0C0DDE7253FC}" v="54" dt="2023-03-03T23:07:03.1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3" d="100"/>
          <a:sy n="103" d="100"/>
        </p:scale>
        <p:origin x="150" y="648"/>
      </p:cViewPr>
      <p:guideLst>
        <p:guide orient="horz" pos="2304"/>
        <p:guide pos="3576"/>
        <p:guide pos="7584"/>
        <p:guide orient="horz" pos="4032"/>
        <p:guide pos="96"/>
        <p:guide pos="2856"/>
        <p:guide pos="576"/>
        <p:guide orient="horz" pos="3840"/>
        <p:guide orient="horz" pos="816"/>
        <p:guide orient="horz" pos="1032"/>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933C03AB-9D3E-4CB4-B385-0C0DDE7253FC}"/>
    <pc:docChg chg="addSld delSld modSld">
      <pc:chgData name="Roberto Gallardo" userId="49a044883f185952" providerId="LiveId" clId="{933C03AB-9D3E-4CB4-B385-0C0DDE7253FC}" dt="2023-03-03T23:07:18.466" v="360" actId="1036"/>
      <pc:docMkLst>
        <pc:docMk/>
      </pc:docMkLst>
      <pc:sldChg chg="modSp mod">
        <pc:chgData name="Roberto Gallardo" userId="49a044883f185952" providerId="LiveId" clId="{933C03AB-9D3E-4CB4-B385-0C0DDE7253FC}" dt="2023-02-24T23:21:16.953" v="1" actId="20577"/>
        <pc:sldMkLst>
          <pc:docMk/>
          <pc:sldMk cId="2846901679" sldId="256"/>
        </pc:sldMkLst>
        <pc:spChg chg="mod">
          <ac:chgData name="Roberto Gallardo" userId="49a044883f185952" providerId="LiveId" clId="{933C03AB-9D3E-4CB4-B385-0C0DDE7253FC}" dt="2023-02-24T23:21:16.953" v="1" actId="20577"/>
          <ac:spMkLst>
            <pc:docMk/>
            <pc:sldMk cId="2846901679" sldId="256"/>
            <ac:spMk id="7" creationId="{B1E0ABEC-554C-720A-2772-F0324C8E93CA}"/>
          </ac:spMkLst>
        </pc:spChg>
      </pc:sldChg>
      <pc:sldChg chg="del">
        <pc:chgData name="Roberto Gallardo" userId="49a044883f185952" providerId="LiveId" clId="{933C03AB-9D3E-4CB4-B385-0C0DDE7253FC}" dt="2023-02-25T14:42:50.686" v="6" actId="47"/>
        <pc:sldMkLst>
          <pc:docMk/>
          <pc:sldMk cId="1175010214" sldId="261"/>
        </pc:sldMkLst>
      </pc:sldChg>
      <pc:sldChg chg="addSp modSp mod">
        <pc:chgData name="Roberto Gallardo" userId="49a044883f185952" providerId="LiveId" clId="{933C03AB-9D3E-4CB4-B385-0C0DDE7253FC}" dt="2023-03-03T23:01:04.822" v="16" actId="1076"/>
        <pc:sldMkLst>
          <pc:docMk/>
          <pc:sldMk cId="1418533539" sldId="271"/>
        </pc:sldMkLst>
        <pc:picChg chg="add mod">
          <ac:chgData name="Roberto Gallardo" userId="49a044883f185952" providerId="LiveId" clId="{933C03AB-9D3E-4CB4-B385-0C0DDE7253FC}" dt="2023-03-03T23:01:04.822" v="16" actId="1076"/>
          <ac:picMkLst>
            <pc:docMk/>
            <pc:sldMk cId="1418533539" sldId="271"/>
            <ac:picMk id="6" creationId="{9BE5AB5D-64C8-FF17-0A5A-E84E6B3F2676}"/>
          </ac:picMkLst>
        </pc:picChg>
      </pc:sldChg>
      <pc:sldChg chg="addSp modSp mod">
        <pc:chgData name="Roberto Gallardo" userId="49a044883f185952" providerId="LiveId" clId="{933C03AB-9D3E-4CB4-B385-0C0DDE7253FC}" dt="2023-03-03T23:03:21.961" v="124" actId="1036"/>
        <pc:sldMkLst>
          <pc:docMk/>
          <pc:sldMk cId="2124848710" sldId="281"/>
        </pc:sldMkLst>
        <pc:picChg chg="add mod">
          <ac:chgData name="Roberto Gallardo" userId="49a044883f185952" providerId="LiveId" clId="{933C03AB-9D3E-4CB4-B385-0C0DDE7253FC}" dt="2023-03-03T23:03:21.961" v="124" actId="1036"/>
          <ac:picMkLst>
            <pc:docMk/>
            <pc:sldMk cId="2124848710" sldId="281"/>
            <ac:picMk id="6" creationId="{B3E459D2-78C0-6186-3091-BA6E562FF02A}"/>
          </ac:picMkLst>
        </pc:picChg>
      </pc:sldChg>
      <pc:sldChg chg="addSp modSp mod">
        <pc:chgData name="Roberto Gallardo" userId="49a044883f185952" providerId="LiveId" clId="{933C03AB-9D3E-4CB4-B385-0C0DDE7253FC}" dt="2023-03-03T23:03:42.515" v="147" actId="1035"/>
        <pc:sldMkLst>
          <pc:docMk/>
          <pc:sldMk cId="2028175529" sldId="282"/>
        </pc:sldMkLst>
        <pc:picChg chg="add mod">
          <ac:chgData name="Roberto Gallardo" userId="49a044883f185952" providerId="LiveId" clId="{933C03AB-9D3E-4CB4-B385-0C0DDE7253FC}" dt="2023-03-03T23:03:42.515" v="147" actId="1035"/>
          <ac:picMkLst>
            <pc:docMk/>
            <pc:sldMk cId="2028175529" sldId="282"/>
            <ac:picMk id="7" creationId="{DD2858A2-B927-EEC4-12F4-9E80624EC7EA}"/>
          </ac:picMkLst>
        </pc:picChg>
      </pc:sldChg>
      <pc:sldChg chg="addSp modSp mod">
        <pc:chgData name="Roberto Gallardo" userId="49a044883f185952" providerId="LiveId" clId="{933C03AB-9D3E-4CB4-B385-0C0DDE7253FC}" dt="2023-03-03T23:04:00.561" v="168" actId="1036"/>
        <pc:sldMkLst>
          <pc:docMk/>
          <pc:sldMk cId="1326517747" sldId="283"/>
        </pc:sldMkLst>
        <pc:picChg chg="add mod">
          <ac:chgData name="Roberto Gallardo" userId="49a044883f185952" providerId="LiveId" clId="{933C03AB-9D3E-4CB4-B385-0C0DDE7253FC}" dt="2023-03-03T23:04:00.561" v="168" actId="1036"/>
          <ac:picMkLst>
            <pc:docMk/>
            <pc:sldMk cId="1326517747" sldId="283"/>
            <ac:picMk id="7" creationId="{55D14FAE-6D91-C56D-07B1-B5E5E57C85BE}"/>
          </ac:picMkLst>
        </pc:picChg>
      </pc:sldChg>
      <pc:sldChg chg="addSp modSp mod">
        <pc:chgData name="Roberto Gallardo" userId="49a044883f185952" providerId="LiveId" clId="{933C03AB-9D3E-4CB4-B385-0C0DDE7253FC}" dt="2023-03-03T23:04:23.730" v="187" actId="1035"/>
        <pc:sldMkLst>
          <pc:docMk/>
          <pc:sldMk cId="783739251" sldId="284"/>
        </pc:sldMkLst>
        <pc:picChg chg="add mod">
          <ac:chgData name="Roberto Gallardo" userId="49a044883f185952" providerId="LiveId" clId="{933C03AB-9D3E-4CB4-B385-0C0DDE7253FC}" dt="2023-03-03T23:04:23.730" v="187" actId="1035"/>
          <ac:picMkLst>
            <pc:docMk/>
            <pc:sldMk cId="783739251" sldId="284"/>
            <ac:picMk id="7" creationId="{AFD21CF0-37BF-FC01-2510-65D066BB0CF8}"/>
          </ac:picMkLst>
        </pc:picChg>
      </pc:sldChg>
      <pc:sldChg chg="addSp modSp mod">
        <pc:chgData name="Roberto Gallardo" userId="49a044883f185952" providerId="LiveId" clId="{933C03AB-9D3E-4CB4-B385-0C0DDE7253FC}" dt="2023-03-03T23:04:42.257" v="208" actId="1035"/>
        <pc:sldMkLst>
          <pc:docMk/>
          <pc:sldMk cId="1676122233" sldId="285"/>
        </pc:sldMkLst>
        <pc:picChg chg="add mod">
          <ac:chgData name="Roberto Gallardo" userId="49a044883f185952" providerId="LiveId" clId="{933C03AB-9D3E-4CB4-B385-0C0DDE7253FC}" dt="2023-03-03T23:04:42.257" v="208" actId="1035"/>
          <ac:picMkLst>
            <pc:docMk/>
            <pc:sldMk cId="1676122233" sldId="285"/>
            <ac:picMk id="7" creationId="{A2F1FF22-0E6D-3658-2138-F312F2C9BCA9}"/>
          </ac:picMkLst>
        </pc:picChg>
      </pc:sldChg>
      <pc:sldChg chg="addSp modSp mod">
        <pc:chgData name="Roberto Gallardo" userId="49a044883f185952" providerId="LiveId" clId="{933C03AB-9D3E-4CB4-B385-0C0DDE7253FC}" dt="2023-03-03T23:04:58.174" v="225" actId="1036"/>
        <pc:sldMkLst>
          <pc:docMk/>
          <pc:sldMk cId="3100398757" sldId="286"/>
        </pc:sldMkLst>
        <pc:picChg chg="add mod">
          <ac:chgData name="Roberto Gallardo" userId="49a044883f185952" providerId="LiveId" clId="{933C03AB-9D3E-4CB4-B385-0C0DDE7253FC}" dt="2023-03-03T23:04:58.174" v="225" actId="1036"/>
          <ac:picMkLst>
            <pc:docMk/>
            <pc:sldMk cId="3100398757" sldId="286"/>
            <ac:picMk id="7" creationId="{CA92AF93-07DD-E33B-AB98-6019150F2DD8}"/>
          </ac:picMkLst>
        </pc:picChg>
      </pc:sldChg>
      <pc:sldChg chg="addSp modSp mod">
        <pc:chgData name="Roberto Gallardo" userId="49a044883f185952" providerId="LiveId" clId="{933C03AB-9D3E-4CB4-B385-0C0DDE7253FC}" dt="2023-03-03T23:05:15.757" v="242" actId="1036"/>
        <pc:sldMkLst>
          <pc:docMk/>
          <pc:sldMk cId="1546475425" sldId="287"/>
        </pc:sldMkLst>
        <pc:picChg chg="add mod">
          <ac:chgData name="Roberto Gallardo" userId="49a044883f185952" providerId="LiveId" clId="{933C03AB-9D3E-4CB4-B385-0C0DDE7253FC}" dt="2023-03-03T23:05:15.757" v="242" actId="1036"/>
          <ac:picMkLst>
            <pc:docMk/>
            <pc:sldMk cId="1546475425" sldId="287"/>
            <ac:picMk id="7" creationId="{AF5342D4-056D-47BD-F1C2-7CA362030607}"/>
          </ac:picMkLst>
        </pc:picChg>
      </pc:sldChg>
      <pc:sldChg chg="addSp modSp mod">
        <pc:chgData name="Roberto Gallardo" userId="49a044883f185952" providerId="LiveId" clId="{933C03AB-9D3E-4CB4-B385-0C0DDE7253FC}" dt="2023-03-03T23:05:58.024" v="282" actId="1036"/>
        <pc:sldMkLst>
          <pc:docMk/>
          <pc:sldMk cId="1380517306" sldId="288"/>
        </pc:sldMkLst>
        <pc:picChg chg="add mod">
          <ac:chgData name="Roberto Gallardo" userId="49a044883f185952" providerId="LiveId" clId="{933C03AB-9D3E-4CB4-B385-0C0DDE7253FC}" dt="2023-03-03T23:05:58.024" v="282" actId="1036"/>
          <ac:picMkLst>
            <pc:docMk/>
            <pc:sldMk cId="1380517306" sldId="288"/>
            <ac:picMk id="7" creationId="{020F948A-75DC-E166-F490-49CA3CC95619}"/>
          </ac:picMkLst>
        </pc:picChg>
      </pc:sldChg>
      <pc:sldChg chg="addSp modSp mod">
        <pc:chgData name="Roberto Gallardo" userId="49a044883f185952" providerId="LiveId" clId="{933C03AB-9D3E-4CB4-B385-0C0DDE7253FC}" dt="2023-03-03T23:06:17.405" v="299" actId="1036"/>
        <pc:sldMkLst>
          <pc:docMk/>
          <pc:sldMk cId="1388671151" sldId="289"/>
        </pc:sldMkLst>
        <pc:picChg chg="add mod">
          <ac:chgData name="Roberto Gallardo" userId="49a044883f185952" providerId="LiveId" clId="{933C03AB-9D3E-4CB4-B385-0C0DDE7253FC}" dt="2023-03-03T23:06:17.405" v="299" actId="1036"/>
          <ac:picMkLst>
            <pc:docMk/>
            <pc:sldMk cId="1388671151" sldId="289"/>
            <ac:picMk id="7" creationId="{07A1B26C-C2C7-3CFC-F438-7DF869FDD31D}"/>
          </ac:picMkLst>
        </pc:picChg>
      </pc:sldChg>
      <pc:sldChg chg="addSp modSp mod">
        <pc:chgData name="Roberto Gallardo" userId="49a044883f185952" providerId="LiveId" clId="{933C03AB-9D3E-4CB4-B385-0C0DDE7253FC}" dt="2023-03-03T23:06:55.048" v="339" actId="1035"/>
        <pc:sldMkLst>
          <pc:docMk/>
          <pc:sldMk cId="2355376039" sldId="290"/>
        </pc:sldMkLst>
        <pc:picChg chg="add mod">
          <ac:chgData name="Roberto Gallardo" userId="49a044883f185952" providerId="LiveId" clId="{933C03AB-9D3E-4CB4-B385-0C0DDE7253FC}" dt="2023-03-03T23:06:55.048" v="339" actId="1035"/>
          <ac:picMkLst>
            <pc:docMk/>
            <pc:sldMk cId="2355376039" sldId="290"/>
            <ac:picMk id="8" creationId="{A23845FF-71FC-86AA-11BD-FCBD56F2D3A8}"/>
          </ac:picMkLst>
        </pc:picChg>
      </pc:sldChg>
      <pc:sldChg chg="addSp modSp mod">
        <pc:chgData name="Roberto Gallardo" userId="49a044883f185952" providerId="LiveId" clId="{933C03AB-9D3E-4CB4-B385-0C0DDE7253FC}" dt="2023-03-03T23:07:18.466" v="360" actId="1036"/>
        <pc:sldMkLst>
          <pc:docMk/>
          <pc:sldMk cId="3757257295" sldId="291"/>
        </pc:sldMkLst>
        <pc:picChg chg="add mod">
          <ac:chgData name="Roberto Gallardo" userId="49a044883f185952" providerId="LiveId" clId="{933C03AB-9D3E-4CB4-B385-0C0DDE7253FC}" dt="2023-03-03T23:07:18.466" v="360" actId="1036"/>
          <ac:picMkLst>
            <pc:docMk/>
            <pc:sldMk cId="3757257295" sldId="291"/>
            <ac:picMk id="8" creationId="{D9817FCA-6724-0234-2D5D-1C89DCCE37CA}"/>
          </ac:picMkLst>
        </pc:picChg>
      </pc:sldChg>
      <pc:sldChg chg="addSp modSp mod">
        <pc:chgData name="Roberto Gallardo" userId="49a044883f185952" providerId="LiveId" clId="{933C03AB-9D3E-4CB4-B385-0C0DDE7253FC}" dt="2023-03-03T23:05:34.882" v="262" actId="1036"/>
        <pc:sldMkLst>
          <pc:docMk/>
          <pc:sldMk cId="1259856727" sldId="292"/>
        </pc:sldMkLst>
        <pc:picChg chg="add mod">
          <ac:chgData name="Roberto Gallardo" userId="49a044883f185952" providerId="LiveId" clId="{933C03AB-9D3E-4CB4-B385-0C0DDE7253FC}" dt="2023-03-03T23:05:34.882" v="262" actId="1036"/>
          <ac:picMkLst>
            <pc:docMk/>
            <pc:sldMk cId="1259856727" sldId="292"/>
            <ac:picMk id="7" creationId="{D7284BC8-D3A7-4715-0399-2C44CEFD5D37}"/>
          </ac:picMkLst>
        </pc:picChg>
      </pc:sldChg>
      <pc:sldChg chg="addSp modSp mod">
        <pc:chgData name="Roberto Gallardo" userId="49a044883f185952" providerId="LiveId" clId="{933C03AB-9D3E-4CB4-B385-0C0DDE7253FC}" dt="2023-03-03T23:03:01.523" v="101" actId="1035"/>
        <pc:sldMkLst>
          <pc:docMk/>
          <pc:sldMk cId="3324519687" sldId="293"/>
        </pc:sldMkLst>
        <pc:picChg chg="add mod">
          <ac:chgData name="Roberto Gallardo" userId="49a044883f185952" providerId="LiveId" clId="{933C03AB-9D3E-4CB4-B385-0C0DDE7253FC}" dt="2023-03-03T23:03:01.523" v="101" actId="1035"/>
          <ac:picMkLst>
            <pc:docMk/>
            <pc:sldMk cId="3324519687" sldId="293"/>
            <ac:picMk id="7" creationId="{D3C2210E-E342-1EFF-7C09-D686701A4F30}"/>
          </ac:picMkLst>
        </pc:picChg>
      </pc:sldChg>
      <pc:sldChg chg="addSp modSp mod">
        <pc:chgData name="Roberto Gallardo" userId="49a044883f185952" providerId="LiveId" clId="{933C03AB-9D3E-4CB4-B385-0C0DDE7253FC}" dt="2023-03-03T23:02:17.545" v="56" actId="1076"/>
        <pc:sldMkLst>
          <pc:docMk/>
          <pc:sldMk cId="3256182630" sldId="295"/>
        </pc:sldMkLst>
        <pc:picChg chg="add mod">
          <ac:chgData name="Roberto Gallardo" userId="49a044883f185952" providerId="LiveId" clId="{933C03AB-9D3E-4CB4-B385-0C0DDE7253FC}" dt="2023-03-03T23:02:17.545" v="56" actId="1076"/>
          <ac:picMkLst>
            <pc:docMk/>
            <pc:sldMk cId="3256182630" sldId="295"/>
            <ac:picMk id="7" creationId="{57B3FDA2-C7A7-847B-AD3B-D9BE23602A6E}"/>
          </ac:picMkLst>
        </pc:picChg>
      </pc:sldChg>
      <pc:sldChg chg="addSp modSp mod">
        <pc:chgData name="Roberto Gallardo" userId="49a044883f185952" providerId="LiveId" clId="{933C03AB-9D3E-4CB4-B385-0C0DDE7253FC}" dt="2023-03-03T23:02:38.132" v="76" actId="1036"/>
        <pc:sldMkLst>
          <pc:docMk/>
          <pc:sldMk cId="4057156843" sldId="296"/>
        </pc:sldMkLst>
        <pc:picChg chg="add mod">
          <ac:chgData name="Roberto Gallardo" userId="49a044883f185952" providerId="LiveId" clId="{933C03AB-9D3E-4CB4-B385-0C0DDE7253FC}" dt="2023-03-03T23:02:38.132" v="76" actId="1036"/>
          <ac:picMkLst>
            <pc:docMk/>
            <pc:sldMk cId="4057156843" sldId="296"/>
            <ac:picMk id="7" creationId="{1C149D04-79F4-1EC1-67AF-C5BEB576C65C}"/>
          </ac:picMkLst>
        </pc:picChg>
      </pc:sldChg>
      <pc:sldChg chg="addSp modSp mod">
        <pc:chgData name="Roberto Gallardo" userId="49a044883f185952" providerId="LiveId" clId="{933C03AB-9D3E-4CB4-B385-0C0DDE7253FC}" dt="2023-03-03T23:01:47.089" v="32" actId="1076"/>
        <pc:sldMkLst>
          <pc:docMk/>
          <pc:sldMk cId="2080110827" sldId="297"/>
        </pc:sldMkLst>
        <pc:picChg chg="add mod">
          <ac:chgData name="Roberto Gallardo" userId="49a044883f185952" providerId="LiveId" clId="{933C03AB-9D3E-4CB4-B385-0C0DDE7253FC}" dt="2023-03-03T23:01:47.089" v="32" actId="1076"/>
          <ac:picMkLst>
            <pc:docMk/>
            <pc:sldMk cId="2080110827" sldId="297"/>
            <ac:picMk id="6" creationId="{632F5CC7-8317-B524-9681-5ECF70E6D922}"/>
          </ac:picMkLst>
        </pc:picChg>
      </pc:sldChg>
      <pc:sldChg chg="addSp modSp mod">
        <pc:chgData name="Roberto Gallardo" userId="49a044883f185952" providerId="LiveId" clId="{933C03AB-9D3E-4CB4-B385-0C0DDE7253FC}" dt="2023-03-03T23:01:25.445" v="24" actId="1076"/>
        <pc:sldMkLst>
          <pc:docMk/>
          <pc:sldMk cId="1532666867" sldId="298"/>
        </pc:sldMkLst>
        <pc:picChg chg="add mod">
          <ac:chgData name="Roberto Gallardo" userId="49a044883f185952" providerId="LiveId" clId="{933C03AB-9D3E-4CB4-B385-0C0DDE7253FC}" dt="2023-03-03T23:01:25.445" v="24" actId="1076"/>
          <ac:picMkLst>
            <pc:docMk/>
            <pc:sldMk cId="1532666867" sldId="298"/>
            <ac:picMk id="6" creationId="{4724E328-2FAD-177E-046D-D3A54EC5A4DA}"/>
          </ac:picMkLst>
        </pc:picChg>
      </pc:sldChg>
      <pc:sldChg chg="addSp modSp mod">
        <pc:chgData name="Roberto Gallardo" userId="49a044883f185952" providerId="LiveId" clId="{933C03AB-9D3E-4CB4-B385-0C0DDE7253FC}" dt="2023-03-03T23:06:38.017" v="322" actId="1035"/>
        <pc:sldMkLst>
          <pc:docMk/>
          <pc:sldMk cId="1951376777" sldId="299"/>
        </pc:sldMkLst>
        <pc:picChg chg="add mod">
          <ac:chgData name="Roberto Gallardo" userId="49a044883f185952" providerId="LiveId" clId="{933C03AB-9D3E-4CB4-B385-0C0DDE7253FC}" dt="2023-03-03T23:06:38.017" v="322" actId="1035"/>
          <ac:picMkLst>
            <pc:docMk/>
            <pc:sldMk cId="1951376777" sldId="299"/>
            <ac:picMk id="7" creationId="{B1E266E6-8565-E20C-E92E-8279025F3BDF}"/>
          </ac:picMkLst>
        </pc:picChg>
      </pc:sldChg>
      <pc:sldChg chg="modSp mod">
        <pc:chgData name="Roberto Gallardo" userId="49a044883f185952" providerId="LiveId" clId="{933C03AB-9D3E-4CB4-B385-0C0DDE7253FC}" dt="2023-02-25T13:19:56.073" v="4" actId="20577"/>
        <pc:sldMkLst>
          <pc:docMk/>
          <pc:sldMk cId="1515423683" sldId="302"/>
        </pc:sldMkLst>
        <pc:spChg chg="mod">
          <ac:chgData name="Roberto Gallardo" userId="49a044883f185952" providerId="LiveId" clId="{933C03AB-9D3E-4CB4-B385-0C0DDE7253FC}" dt="2023-02-25T13:19:56.073" v="4" actId="20577"/>
          <ac:spMkLst>
            <pc:docMk/>
            <pc:sldMk cId="1515423683" sldId="302"/>
            <ac:spMk id="5" creationId="{6AE302AC-8931-4144-BE52-DD1A8BA82462}"/>
          </ac:spMkLst>
        </pc:spChg>
        <pc:spChg chg="mod">
          <ac:chgData name="Roberto Gallardo" userId="49a044883f185952" providerId="LiveId" clId="{933C03AB-9D3E-4CB4-B385-0C0DDE7253FC}" dt="2023-02-25T13:19:53.176" v="3" actId="20577"/>
          <ac:spMkLst>
            <pc:docMk/>
            <pc:sldMk cId="1515423683" sldId="302"/>
            <ac:spMk id="9" creationId="{E362A98F-7DCD-C67C-23CE-1BE182A133B4}"/>
          </ac:spMkLst>
        </pc:spChg>
      </pc:sldChg>
      <pc:sldChg chg="del">
        <pc:chgData name="Roberto Gallardo" userId="49a044883f185952" providerId="LiveId" clId="{933C03AB-9D3E-4CB4-B385-0C0DDE7253FC}" dt="2023-02-25T14:42:50.686" v="6" actId="47"/>
        <pc:sldMkLst>
          <pc:docMk/>
          <pc:sldMk cId="2841628872" sldId="303"/>
        </pc:sldMkLst>
      </pc:sldChg>
      <pc:sldChg chg="del">
        <pc:chgData name="Roberto Gallardo" userId="49a044883f185952" providerId="LiveId" clId="{933C03AB-9D3E-4CB4-B385-0C0DDE7253FC}" dt="2023-02-25T14:42:50.686" v="6" actId="47"/>
        <pc:sldMkLst>
          <pc:docMk/>
          <pc:sldMk cId="3084076302" sldId="304"/>
        </pc:sldMkLst>
      </pc:sldChg>
      <pc:sldChg chg="del">
        <pc:chgData name="Roberto Gallardo" userId="49a044883f185952" providerId="LiveId" clId="{933C03AB-9D3E-4CB4-B385-0C0DDE7253FC}" dt="2023-02-25T14:42:50.686" v="6" actId="47"/>
        <pc:sldMkLst>
          <pc:docMk/>
          <pc:sldMk cId="473712435" sldId="305"/>
        </pc:sldMkLst>
      </pc:sldChg>
      <pc:sldChg chg="add">
        <pc:chgData name="Roberto Gallardo" userId="49a044883f185952" providerId="LiveId" clId="{933C03AB-9D3E-4CB4-B385-0C0DDE7253FC}" dt="2023-02-25T14:42:47.544" v="5"/>
        <pc:sldMkLst>
          <pc:docMk/>
          <pc:sldMk cId="2183608365" sldId="307"/>
        </pc:sldMkLst>
      </pc:sldChg>
      <pc:sldChg chg="add">
        <pc:chgData name="Roberto Gallardo" userId="49a044883f185952" providerId="LiveId" clId="{933C03AB-9D3E-4CB4-B385-0C0DDE7253FC}" dt="2023-02-25T14:42:47.544" v="5"/>
        <pc:sldMkLst>
          <pc:docMk/>
          <pc:sldMk cId="3469626245" sldId="308"/>
        </pc:sldMkLst>
      </pc:sldChg>
      <pc:sldChg chg="add">
        <pc:chgData name="Roberto Gallardo" userId="49a044883f185952" providerId="LiveId" clId="{933C03AB-9D3E-4CB4-B385-0C0DDE7253FC}" dt="2023-02-25T14:42:47.544" v="5"/>
        <pc:sldMkLst>
          <pc:docMk/>
          <pc:sldMk cId="2421681491" sldId="309"/>
        </pc:sldMkLst>
      </pc:sldChg>
      <pc:sldChg chg="add">
        <pc:chgData name="Roberto Gallardo" userId="49a044883f185952" providerId="LiveId" clId="{933C03AB-9D3E-4CB4-B385-0C0DDE7253FC}" dt="2023-02-25T14:42:47.544" v="5"/>
        <pc:sldMkLst>
          <pc:docMk/>
          <pc:sldMk cId="3112962306"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Tyrrell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7CC9E41-0B84-8413-D2EC-CCBADDC16F9D}"/>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421681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FA03E8E4-44FE-7A44-2089-BE28BCF1A806}"/>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3112962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9BE5AB5D-64C8-FF17-0A5A-E84E6B3F26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8094" y="1295400"/>
            <a:ext cx="7219612" cy="51054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4724E328-2FAD-177E-046D-D3A54EC5A4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8093" y="1299546"/>
            <a:ext cx="7219613" cy="51054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632F5CC7-8317-B524-9681-5ECF70E6D9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8094" y="1299547"/>
            <a:ext cx="7219611" cy="5105399"/>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759CE30-DC13-9BDA-C386-454F3022418E}"/>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57B3FDA2-C7A7-847B-AD3B-D9BE23602A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8783"/>
            <a:ext cx="6361967" cy="449891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1FBDEA6-03BA-1F0F-37CE-C23A081AAC86}"/>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1C149D04-79F4-1EC1-67AF-C5BEB576C6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07372"/>
            <a:ext cx="6362700" cy="4499429"/>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DF61AE04-F533-057D-212B-634D612683A6}"/>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D3C2210E-E342-1EFF-7C09-D686701A4F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07371"/>
            <a:ext cx="6362700" cy="4499429"/>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4EE794A-27F2-AAA8-6E78-E7E96B8473F9}"/>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A picture containing diagram&#10;&#10;Description automatically generated">
            <a:extLst>
              <a:ext uri="{FF2B5EF4-FFF2-40B4-BE49-F238E27FC236}">
                <a16:creationId xmlns:a16="http://schemas.microsoft.com/office/drawing/2014/main" id="{B3E459D2-78C0-6186-3091-BA6E562FF0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16702"/>
            <a:ext cx="6362700" cy="4499429"/>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4C913219-1ADF-6163-61A6-9EAEED7C0E96}"/>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map&#10;&#10;Description automatically generated">
            <a:extLst>
              <a:ext uri="{FF2B5EF4-FFF2-40B4-BE49-F238E27FC236}">
                <a16:creationId xmlns:a16="http://schemas.microsoft.com/office/drawing/2014/main" id="{DD2858A2-B927-EEC4-12F4-9E80624EC7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07366"/>
            <a:ext cx="6362700" cy="449942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8A06B5B2-EA70-D85A-6B62-1D3837DB8E94}"/>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map&#10;&#10;Description automatically generated">
            <a:extLst>
              <a:ext uri="{FF2B5EF4-FFF2-40B4-BE49-F238E27FC236}">
                <a16:creationId xmlns:a16="http://schemas.microsoft.com/office/drawing/2014/main" id="{55D14FAE-6D91-C56D-07B1-B5E5E57C85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16701"/>
            <a:ext cx="6362700" cy="449942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96979400-9D06-9C0B-F543-42CB27F4C2B8}"/>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AFD21CF0-37BF-FC01-2510-65D066BB0C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07367"/>
            <a:ext cx="6362700" cy="4499429"/>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26CCFB31-79D9-C418-A9CA-214CA092D9B1}"/>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A2F1FF22-0E6D-3658-2138-F312F2C9BC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899" y="1416698"/>
            <a:ext cx="6362701" cy="4499429"/>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F3B74843-E6B0-69DA-9945-0BE7B21758FE}"/>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map&#10;&#10;Description automatically generated">
            <a:extLst>
              <a:ext uri="{FF2B5EF4-FFF2-40B4-BE49-F238E27FC236}">
                <a16:creationId xmlns:a16="http://schemas.microsoft.com/office/drawing/2014/main" id="{CA92AF93-07DD-E33B-AB98-6019150F2D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04259"/>
            <a:ext cx="6362700" cy="4499429"/>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BAC2A36F-E36E-25C9-9A80-2AFD70EE3D9C}"/>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F5342D4-056D-47BD-F1C2-7CA3620306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07369"/>
            <a:ext cx="6362700" cy="4499428"/>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F9694089-FA38-7D84-3EA4-FA487911DE17}"/>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7284BC8-D3A7-4715-0399-2C44CEFD5D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398040"/>
            <a:ext cx="6375162" cy="450824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9109B3EB-1D5D-8CF2-AF0E-D0F16625CAA5}"/>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map&#10;&#10;Description automatically generated">
            <a:extLst>
              <a:ext uri="{FF2B5EF4-FFF2-40B4-BE49-F238E27FC236}">
                <a16:creationId xmlns:a16="http://schemas.microsoft.com/office/drawing/2014/main" id="{020F948A-75DC-E166-F490-49CA3CC956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07371"/>
            <a:ext cx="6362700" cy="4499429"/>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021EEE85-F2B3-89ED-E19B-1DB0B89A6A06}"/>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07A1B26C-C2C7-3CFC-F438-7DF869FDD3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07303"/>
            <a:ext cx="6362700" cy="4499429"/>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1AE87356-1306-A006-639C-0EDB73243F51}"/>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A picture containing diagram&#10;&#10;Description automatically generated">
            <a:extLst>
              <a:ext uri="{FF2B5EF4-FFF2-40B4-BE49-F238E27FC236}">
                <a16:creationId xmlns:a16="http://schemas.microsoft.com/office/drawing/2014/main" id="{B1E266E6-8565-E20C-E92E-8279025F3B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899" y="1405265"/>
            <a:ext cx="6364939" cy="450101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630EFEC1-D3FC-5BC4-762B-9A150C93128C}"/>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A picture containing map&#10;&#10;Description automatically generated">
            <a:extLst>
              <a:ext uri="{FF2B5EF4-FFF2-40B4-BE49-F238E27FC236}">
                <a16:creationId xmlns:a16="http://schemas.microsoft.com/office/drawing/2014/main" id="{A23845FF-71FC-86AA-11BD-FCBD56F2D3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07367"/>
            <a:ext cx="6362700" cy="4499429"/>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406C80CA-88F5-8FAE-2C4C-16F02E67B482}"/>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4A610C48-939E-C78A-2D35-EE238219CE28}"/>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A picture containing map&#10;&#10;Description automatically generated">
            <a:extLst>
              <a:ext uri="{FF2B5EF4-FFF2-40B4-BE49-F238E27FC236}">
                <a16:creationId xmlns:a16="http://schemas.microsoft.com/office/drawing/2014/main" id="{D9817FCA-6724-0234-2D5D-1C89DCCE37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07370"/>
            <a:ext cx="6362700" cy="4499429"/>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227ACA49-152E-3796-BEA6-B235EBEFFAAC}"/>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11715C9-6E52-E991-1B50-24392E5BDD2C}"/>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BA10EE2-EED0-5029-344E-AE49185C79B0}"/>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36024" y="2542482"/>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0</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300165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4700" y="2439476"/>
            <a:ext cx="1198148" cy="2557413"/>
            <a:chOff x="10485745" y="3619587"/>
            <a:chExt cx="1198148" cy="255741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45795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5</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20612" y="61770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23650" y="36195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619587"/>
              <a:ext cx="0" cy="9599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73275" y="5494936"/>
              <a:ext cx="0" cy="6630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FAB47C0A-EBAF-1BC5-8DF6-D7382ECA80EF}"/>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B6E43390-859F-E2EC-BE8D-3A82F1F69D3E}"/>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07AFC62-FDA0-3926-2EEB-4697059E9BE1}"/>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A237FA52-8431-748C-AA49-7B8EDB98BE3B}"/>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4E2C5FB0-BD54-BBD6-D112-C28D096EF339}"/>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2EEF8775-3311-7DD6-DBAE-8C4C985F67B9}"/>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525CEAB4-D632-F9C2-7F2F-9072947F1B45}"/>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1836083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98E01AA-29C2-9939-E3F2-1F51BEAC2417}"/>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469626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23</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75</cp:revision>
  <dcterms:created xsi:type="dcterms:W3CDTF">2022-07-04T13:32:28Z</dcterms:created>
  <dcterms:modified xsi:type="dcterms:W3CDTF">2023-03-03T23:07:23Z</dcterms:modified>
</cp:coreProperties>
</file>